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85" r:id="rId2"/>
    <p:sldId id="306" r:id="rId3"/>
    <p:sldId id="307" r:id="rId4"/>
    <p:sldId id="308" r:id="rId5"/>
    <p:sldId id="295" r:id="rId6"/>
    <p:sldId id="296" r:id="rId7"/>
    <p:sldId id="301" r:id="rId8"/>
    <p:sldId id="305" r:id="rId9"/>
    <p:sldId id="300" r:id="rId10"/>
    <p:sldId id="297" r:id="rId11"/>
    <p:sldId id="302" r:id="rId12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FCF35-81F3-4661-AE8A-C1D0CFC92E08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C4122-D4D5-4F36-90FD-CE3A26B6DD5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4011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28192" y="2713340"/>
            <a:ext cx="721118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한적십자사</a:t>
            </a:r>
            <a:r>
              <a:rPr lang="en-US" altLang="ko-KR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건산업진흥원</a:t>
            </a:r>
            <a:endParaRPr lang="en-US" altLang="ko-KR" sz="32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32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한결핵협회 </a:t>
            </a:r>
            <a:r>
              <a:rPr lang="ko-KR" altLang="en-US" sz="3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3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37933" y="1844824"/>
            <a:ext cx="6391698" cy="428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건강과 대한민국의 보건산업 발전을 위한</a:t>
            </a:r>
            <a:endParaRPr lang="en-US" altLang="ko-KR" sz="22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1826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7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사 ②</a:t>
            </a:r>
            <a:endParaRPr lang="en-US" altLang="ko-KR" sz="9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847" y="566563"/>
            <a:ext cx="8694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성과와 실적 위주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Global Leader Project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1194" y="1235375"/>
            <a:ext cx="8782238" cy="3577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07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부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반기문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Project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청소년적십자 우수단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UN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방문 등 국제연수행사 중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반기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UN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무총장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고교재학 중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96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청소년 적십자 국제대회 참여 계기로 ‘외교관 꿈’ 실현에 착안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적십자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 대표성과사업으로 호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칭찬받는 사업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집행예산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.7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원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3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3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3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3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＇</a:t>
            </a:r>
            <a:r>
              <a:rPr lang="en-US" altLang="ko-KR" sz="13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)</a:t>
            </a:r>
            <a:endParaRPr lang="ko-KR" altLang="en-US" sz="1300" spc="-3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富者자녀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십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우수청소년단원」모집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형식은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개선발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민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외계층 자녀 全無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수비용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실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비 부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십자사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에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과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수비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원액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‘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천만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,8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·‘1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천만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,2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·‘12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천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,5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참가비 매년 인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십자사 지원액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동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지원 생색」만 내는 상황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그나마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적십자사가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원하는 年 평균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,3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 지원금 경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본사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직원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 동행 경비로 지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97418" y="6171418"/>
            <a:ext cx="8687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반복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국제연수행사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양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취약계층 우수청년단원 포함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개선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49798" y="626934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717442" y="207857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5367146" y="343910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6012159" y="408717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843312" y="309803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/>
          <p:cNvSpPr/>
          <p:nvPr/>
        </p:nvSpPr>
        <p:spPr>
          <a:xfrm>
            <a:off x="860198" y="4879267"/>
            <a:ext cx="7128792" cy="864096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1544274" y="5049705"/>
            <a:ext cx="57606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Global  Leader  Project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273" y="5036168"/>
            <a:ext cx="6191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 descr="C:\Users\assembly\Desktop\1_0001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168528">
            <a:off x="6661296" y="4605800"/>
            <a:ext cx="1892375" cy="1829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725100" y="5171096"/>
            <a:ext cx="10444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부자자녀 </a:t>
            </a:r>
            <a:r>
              <a:rPr lang="ko-KR" altLang="en-US" sz="105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endParaRPr lang="en-US" altLang="ko-KR" sz="105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ko-KR" altLang="en-US" sz="105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모집</a:t>
            </a:r>
            <a:endParaRPr lang="ko-KR" altLang="en-US" sz="105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8786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87624" y="1006403"/>
            <a:ext cx="755703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결핵 문제</a:t>
            </a:r>
            <a:r>
              <a:rPr lang="en-US" altLang="ko-KR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새로운 인식」</a:t>
            </a:r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 대책 촉구</a:t>
            </a:r>
            <a:endParaRPr lang="ko-KR" altLang="en-US" sz="2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1195" y="1945943"/>
            <a:ext cx="8782238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반복되는 국정감사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적사항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기준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결핵 발생률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망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결핵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신환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1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9,54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‘1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6,08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‘1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4,86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전한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汚名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결핵관련 협회 자체 및 기금 등 예산 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08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집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홍보비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2.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5.2%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불과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학생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SNS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사단 결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핵 안다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93%”, 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핵문제 심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49%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결핵 홍보사실 모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 54%”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가장 큰 문제는 높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잠복감염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집단시설 확대전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높은 치료실패율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형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신개발 실패도 한 몫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더욱 심각한 문제는 전국 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 결핵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원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곳에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專門醫도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익不보장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이유로 감소세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결핵 완치 위한 대책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①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방 및 치료 위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실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책 추진 필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초기 발견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철저한 환자관리 및 지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리기반 강화 등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②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핵퇴치 위한 정확한 정보전달 및 국민 관심과 동참을 유도하는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홍보방안」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강화 추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③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핵환자 치료전달시스템 및 일선 공공 전문의 결핵관련 반복교육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감염 최소화 대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점검 등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3275856" y="21131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537618" y="38239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936605" y="49713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149788" y="31537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2" name="Picture 2" descr="C:\Users\assembly\Desktop\2015 국정감사\PPT\1차 기관 로고\대한결핵협회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30062"/>
            <a:ext cx="1158701" cy="24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오른쪽 화살표 13"/>
          <p:cNvSpPr/>
          <p:nvPr/>
        </p:nvSpPr>
        <p:spPr>
          <a:xfrm>
            <a:off x="7164288" y="24573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733966" y="27894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223318" y="35016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3" name="Picture 3" descr="C:\Users\assembly\Desktop\1_0000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892" y="493573"/>
            <a:ext cx="1049464" cy="1181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694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/>
        </p:nvSpPr>
        <p:spPr>
          <a:xfrm>
            <a:off x="267211" y="3260388"/>
            <a:ext cx="4232782" cy="9977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253823" y="620688"/>
            <a:ext cx="8694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십자</a:t>
            </a:r>
            <a:r>
              <a:rPr lang="en-US" altLang="ko-KR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r>
              <a:rPr lang="en-US" altLang="ko-KR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간호대학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 문제</a:t>
            </a:r>
            <a:endParaRPr lang="en-US" altLang="ko-KR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6223" y="1268760"/>
            <a:ext cx="8782238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제기된 내용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대한적십자사 소속 및 소유인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적십자간호대학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3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 일정한 협의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하에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제 간호대학으로 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승격하기 위해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앙대학교 재단 소유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관련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학교 부지 및 시설 전체가 이전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11.8.18.)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관련 의문사항 및 해소해야 할 내용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법적인 처리 별개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사실여부」에 대한 현 적십자사 임원진의 입장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당시 적십자사 관련 임직원들의 역할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③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 시점에서 이번 사건이 제기된 이유와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배경</a:t>
            </a:r>
            <a:endParaRPr lang="en-US" altLang="ko-KR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1026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57" y="4673217"/>
            <a:ext cx="2771775" cy="15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직사각형 8"/>
          <p:cNvSpPr/>
          <p:nvPr/>
        </p:nvSpPr>
        <p:spPr>
          <a:xfrm>
            <a:off x="4652393" y="3260387"/>
            <a:ext cx="4232782" cy="9977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4652393" y="3247462"/>
            <a:ext cx="4232782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④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태에서 「간호전문대학」 관련 바람직한 해결방안</a:t>
            </a:r>
            <a:endParaRPr lang="en-US" altLang="ko-KR" sz="13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⑤ 「보건복지부」의 동의 또는 승인 여부와 사후 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적절한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감독 대책</a:t>
            </a:r>
            <a:endParaRPr lang="ko-KR" altLang="en-US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147" y="4673218"/>
            <a:ext cx="2307096" cy="1572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4250" y="4673219"/>
            <a:ext cx="2382273" cy="1589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769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의료산업 일자리 확대방안 연구」 </a:t>
            </a:r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377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사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산업자체의 고용 및 생산 유발효과가 큰 사업으로 평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규 일자리 중 가장 큰 비중 차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원격진료코디네이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유전학상담전문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의료일러스트레이터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등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신직업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중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4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차지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0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1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까지 전체산업 고용규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50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➝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59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만명으로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3.5%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증가에 그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반면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 및 사회복지서비스부문의 고용은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9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➝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70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명으로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86.9%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로 대폭 증가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재 고용직업분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2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 보건의료관련은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5.4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불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국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우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8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로 적극적 분류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치료 및 간호 분야의 직업들이 국내 직업에 비해 다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그 직무의 범위와 수준이 세분화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1514" y="6187693"/>
            <a:ext cx="857582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약품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기기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화장품산업 분야 등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新일자리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확대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 대책 추진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구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725849" y="14485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9" name="Picture 2" descr="C:\Users\assembly\Desktop\2015 국정감사\PPT\1차 기관 로고\보건산업진흥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146470"/>
            <a:ext cx="739025" cy="436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오른쪽 화살표 19"/>
          <p:cNvSpPr/>
          <p:nvPr/>
        </p:nvSpPr>
        <p:spPr>
          <a:xfrm>
            <a:off x="295956" y="25686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5724936" y="30078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723084"/>
            <a:ext cx="2073548" cy="2383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타원 8"/>
          <p:cNvSpPr/>
          <p:nvPr/>
        </p:nvSpPr>
        <p:spPr>
          <a:xfrm>
            <a:off x="3513915" y="4758612"/>
            <a:ext cx="1080120" cy="10801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/>
          <p:cNvSpPr/>
          <p:nvPr/>
        </p:nvSpPr>
        <p:spPr>
          <a:xfrm>
            <a:off x="4690117" y="4650905"/>
            <a:ext cx="1143744" cy="121196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3574906" y="4957293"/>
            <a:ext cx="99709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04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2,557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천명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63442" y="4856777"/>
            <a:ext cx="99709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5,599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천명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08451" y="3845749"/>
            <a:ext cx="13821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체산업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3.5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%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증가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88224" y="3812319"/>
            <a:ext cx="1728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산업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86.9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%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증가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8" name="타원 27"/>
          <p:cNvSpPr/>
          <p:nvPr/>
        </p:nvSpPr>
        <p:spPr>
          <a:xfrm>
            <a:off x="6588224" y="4957293"/>
            <a:ext cx="648072" cy="682758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>
            <a:off x="7383362" y="4706848"/>
            <a:ext cx="1097293" cy="1156022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7433461" y="4884749"/>
            <a:ext cx="99709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1,693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천명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13713" y="5007304"/>
            <a:ext cx="997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04</a:t>
            </a:r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endParaRPr lang="en-US" altLang="ko-KR" sz="11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590</a:t>
            </a:r>
          </a:p>
          <a:p>
            <a:pPr algn="ctr"/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천명</a:t>
            </a:r>
            <a:endParaRPr lang="ko-KR" alt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07704" y="3858486"/>
            <a:ext cx="172819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관련 직종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 뿐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171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94873" y="766680"/>
            <a:ext cx="65858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외국인환자 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00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 시대 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/>
            <a:endParaRPr lang="en-US" altLang="ko-KR" sz="8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/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불법브로커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8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섀도우닥터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실태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0881" y="2015134"/>
            <a:ext cx="8782238" cy="3531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국인 환자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6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年 평균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5%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증가세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누적 해외환자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01,47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0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국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’1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9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국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중국인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.9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러시아인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3.1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 큰 폭으로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외국인환자 진료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,569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’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,934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2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누적 기준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억 원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당 평균진료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0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적별로는 중국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,403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25.2%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지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의 외국인환자 유치업자 및 병원관리 정책 미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법브로커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승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원 간 경쟁도 심화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외국인 환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도권 특정 병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원 집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쏠림 현상 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리수술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혹 및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등록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의료기관도 가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불법브로커 및 거래 의료기관에 대한 제재 및 처벌 부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태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파악조차 곤란한 상황 지속 중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의료사고 배상책임보험 가입 및 사전설명 의무부과 등 불성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國格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손실 및 韓醫 불신」 가중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1814" y="6096580"/>
            <a:ext cx="8522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韓醫療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한류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지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해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중심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태조사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후 정부차원의 대책 강구 추진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32681" y="609658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959977" y="21963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6" name="Picture 2" descr="C:\Users\assembly\Desktop\2015 국정감사\PPT\1차 기관 로고\보건산업진흥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146470"/>
            <a:ext cx="739025" cy="436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오른쪽 화살표 18"/>
          <p:cNvSpPr/>
          <p:nvPr/>
        </p:nvSpPr>
        <p:spPr>
          <a:xfrm>
            <a:off x="5775822" y="28763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698428" y="42304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634804" y="45715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4995326" y="48925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5487790" y="52525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97" y="262636"/>
            <a:ext cx="1752150" cy="158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63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1137556" y="4322005"/>
            <a:ext cx="5080225" cy="1460735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253823" y="692696"/>
            <a:ext cx="8694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회비 모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금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실태를 통해 본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대한적십자사의 現 위상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9247" y="1484784"/>
            <a:ext cx="8782238" cy="2608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적십자사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입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부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기업 등 자발적 특별회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부금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14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,600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92.7%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평화와 봉사의 상징 「적십자사 위상 지표」는 국민참여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반회비 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납부율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.3%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년 감소세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비납부자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08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528</a:t>
            </a:r>
            <a:r>
              <a:rPr lang="ko-KR" altLang="en-US" sz="15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 ➝ ’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442</a:t>
            </a:r>
            <a:r>
              <a:rPr lang="ko-KR" altLang="en-US" sz="15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명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 (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약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16.2%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감소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endParaRPr lang="ko-KR" altLang="en-US" sz="1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소사유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7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이상 모집대상 제외 및 「모금대행」 ➝ 「자율납부」로 방식 변경 때문’ 입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회비 참여 경향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6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4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3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2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젊은 층」 참여감소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점유율 하락 두드러져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내 기부참여 경향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4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5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3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6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2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 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복지부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 </a:t>
            </a:r>
            <a:r>
              <a:rPr lang="ko-KR" altLang="en-US" sz="12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나눔실태조사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50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 기부문화 주도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014 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고객만족도 조사결과</a:t>
            </a:r>
            <a:r>
              <a:rPr lang="en-US" altLang="ko-KR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5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적십자 회비 사용 출처 및 내역 등 투명성 확보 미흡’ 지적과 有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1476" y="6073494"/>
            <a:ext cx="858785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대한적십자사 위상 재정립」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투명성 확대 강화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해 안정적 재원 확보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1773" y="61714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580112" y="203266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오른쪽 화살표 16"/>
          <p:cNvSpPr/>
          <p:nvPr/>
        </p:nvSpPr>
        <p:spPr>
          <a:xfrm>
            <a:off x="5796136" y="16581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560210" y="30963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4358008"/>
            <a:ext cx="4980088" cy="1388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291897"/>
            <a:ext cx="1421033" cy="1520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507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8795" y="721212"/>
            <a:ext cx="86946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시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戰時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비상 운영 체제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립</a:t>
            </a:r>
            <a:endParaRPr lang="en-US" altLang="ko-KR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1195" y="1700808"/>
            <a:ext cx="878223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국가위기상황時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역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무력충돌희생자 및 전상자 치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구호사업 수행 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한적십자사조직법 제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.2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항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을지훈련 내용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혈액원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피폭時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혈액검사기능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마비時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물무기 공격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폭파時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응훈련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실시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각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간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실제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장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훈련 참여</a:t>
            </a:r>
          </a:p>
          <a:p>
            <a:pPr fontAlgn="base">
              <a:lnSpc>
                <a:spcPct val="150000"/>
              </a:lnSpc>
            </a:pPr>
            <a:endParaRPr lang="en-US" altLang="ko-KR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en-US" altLang="ko-KR" sz="1500" b="1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방부와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MOU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형태로 전시의료지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평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혈액소요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판단」만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위기時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자동혈액지원시스템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방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 북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도발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기 및 전시 혈액 원활공급 및 신속 지원 위한 방안 검토 요청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시부터 냉동혈액 보관 및 지원 필요성에 대한 타당성 검증 등 유관기관 협의체 구성 추진 등 요청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북한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1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준전시상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선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/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국방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전방부대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진돗개 ‘하나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발령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상근무체제 가동 미흡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1082" y="5781419"/>
            <a:ext cx="81454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시의료 자동지원대책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비상시 근무태세 강화지침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등 보완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11880" y="590242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313073" y="48220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297913" y="25431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오른쪽 화살표 11"/>
          <p:cNvSpPr/>
          <p:nvPr/>
        </p:nvSpPr>
        <p:spPr>
          <a:xfrm>
            <a:off x="3428695" y="37170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6301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8795" y="620688"/>
            <a:ext cx="869463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의료제고 차원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적십자병원 </a:t>
            </a:r>
            <a:r>
              <a:rPr lang="en-US" altLang="ko-KR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실운영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책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1195" y="1369284"/>
            <a:ext cx="8782238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국 「적십자병원」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거점공공병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공보건의료사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軍의료보조기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기능 수행 중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서울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종합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거창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경인재활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요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익적 의료 제공 등 사유로 年 약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0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적자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누적적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4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 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기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반손익 현황을 보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례식장 운영기관은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흑자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공익적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손익은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병원 전부 적자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본부 포함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15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고보조금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3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’1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7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14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절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.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19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이후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원중단 방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구 적십자병원 ‘적자 누적’으로 폐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째 ‘도심 속의 심야유령건물화’ 상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공익적 적자 누적 가중 속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약계층 위한 의료시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비 확충 예산 부족 심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책 보완 시급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6377" y="6171418"/>
            <a:ext cx="8522092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적십자병원 특수기능 존속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제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근본적인 개선 대책 추진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8923" y="628146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551613" y="28838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5184882" y="390059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631754" y="35350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7019968" y="42391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1635435" y="5435542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288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5725" y="4867033"/>
            <a:ext cx="1584176" cy="531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411968" y="5435542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191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435" y="4867033"/>
            <a:ext cx="1573224" cy="527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661" y="4888074"/>
            <a:ext cx="144780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5224706" y="5435542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129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9747" y="4888073"/>
            <a:ext cx="144780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7107739" y="5430231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77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5" name="Picture 7" descr="C:\Users\assembly\Desktop\1_0000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62" y="4639287"/>
            <a:ext cx="953817" cy="1434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851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8795" y="577196"/>
            <a:ext cx="86946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전불감증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불법 山岳안전교육과정 실태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1195" y="1369284"/>
            <a:ext cx="8782238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악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난자 구조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산객 안전 봉사활동 목적으로 「산악안전교육과정」 양성 中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2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14)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46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,528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양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백만 원 집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별도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강습비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수십억 원 수령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숙박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비 및 생활비 별도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령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과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초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강사과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간 실시 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교육기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법행위 및 안전수칙 위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고문 및 교재에 버젓이 「숙박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취사도구 준비」 안내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취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야영 행위 금지 위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화물질소지 적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출입금지구역 출입위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 등 불법 행위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빈번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안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낙석 및 해빙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험시기 암벽교육 시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강사 포함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강생 안전장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착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반사</a:t>
            </a:r>
            <a:endParaRPr lang="en-US" altLang="ko-KR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산악안전교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촉 강사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부분이 이른바 ‘산악인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및 안전에 대한 전문성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 지적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긴급구조기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119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안전센터 요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산림청 구조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립공원관리공단등산학교 등 전문인력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POOL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외면 의혹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교육 교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적십자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도 발행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舊책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핵심교육 ‘심폐소생술’ 내용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P.226)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오류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1773" y="61714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709411" y="48679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3955790" y="32488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383744" y="55387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700995" y="18871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3" name="_x201218944" descr="EMB000016dc020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377" y="3907385"/>
            <a:ext cx="863532" cy="4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5" name="_x201218304" descr="EMB000016dc020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876494"/>
            <a:ext cx="1824579" cy="47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919" y="3876494"/>
            <a:ext cx="1818940" cy="475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그룹 15"/>
          <p:cNvGrpSpPr/>
          <p:nvPr/>
        </p:nvGrpSpPr>
        <p:grpSpPr>
          <a:xfrm>
            <a:off x="201195" y="1207050"/>
            <a:ext cx="8771055" cy="4802615"/>
            <a:chOff x="170769" y="1237318"/>
            <a:chExt cx="8771055" cy="4802615"/>
          </a:xfrm>
        </p:grpSpPr>
        <p:pic>
          <p:nvPicPr>
            <p:cNvPr id="18" name="_x201218944" descr="EMB000016dc020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769" y="1237318"/>
              <a:ext cx="8771055" cy="4802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6516216" y="5519072"/>
              <a:ext cx="20162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lt;</a:t>
              </a:r>
              <a:r>
                <a:rPr lang="ko-KR" altLang="en-US" sz="16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적십자 홈페이지</a:t>
              </a:r>
              <a:r>
                <a:rPr lang="en-US" altLang="ko-KR" sz="16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gt;</a:t>
              </a:r>
              <a:endParaRPr lang="ko-KR" altLang="en-US" sz="16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364401" y="1207050"/>
            <a:ext cx="8507158" cy="3467886"/>
            <a:chOff x="323528" y="1556792"/>
            <a:chExt cx="7558579" cy="2419756"/>
          </a:xfrm>
        </p:grpSpPr>
        <p:pic>
          <p:nvPicPr>
            <p:cNvPr id="21" name="_x201218304" descr="EMB000016dc020d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1556792"/>
              <a:ext cx="7558579" cy="2419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/>
            <p:cNvSpPr txBox="1"/>
            <p:nvPr/>
          </p:nvSpPr>
          <p:spPr>
            <a:xfrm>
              <a:off x="611560" y="3501008"/>
              <a:ext cx="29523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lt;</a:t>
              </a:r>
              <a:r>
                <a:rPr lang="ko-KR" altLang="en-US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교재</a:t>
              </a:r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: </a:t>
              </a:r>
              <a:r>
                <a:rPr lang="ko-KR" altLang="en-US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산악안전법</a:t>
              </a:r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, </a:t>
              </a:r>
              <a:r>
                <a:rPr lang="ko-KR" altLang="en-US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대한적십자사</a:t>
              </a:r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gt;</a:t>
              </a:r>
              <a:endPara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grpSp>
        <p:nvGrpSpPr>
          <p:cNvPr id="23" name="그룹 22"/>
          <p:cNvGrpSpPr/>
          <p:nvPr/>
        </p:nvGrpSpPr>
        <p:grpSpPr>
          <a:xfrm>
            <a:off x="335385" y="1304878"/>
            <a:ext cx="8528765" cy="3272230"/>
            <a:chOff x="539552" y="1772816"/>
            <a:chExt cx="7163724" cy="2088232"/>
          </a:xfrm>
        </p:grpSpPr>
        <p:pic>
          <p:nvPicPr>
            <p:cNvPr id="24" name="Picture 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552" y="1772816"/>
              <a:ext cx="7163724" cy="2088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6012160" y="3510880"/>
              <a:ext cx="16911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lt;</a:t>
              </a:r>
              <a:r>
                <a:rPr lang="ko-KR" altLang="en-US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적십자 </a:t>
              </a:r>
              <a:r>
                <a:rPr lang="ko-KR" altLang="en-US" sz="1400" b="1" dirty="0" err="1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블로그</a:t>
              </a:r>
              <a:r>
                <a:rPr lang="en-US" altLang="ko-KR" sz="14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&gt;</a:t>
              </a:r>
              <a:endPara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556377" y="6073494"/>
            <a:ext cx="8522092" cy="42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각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종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교육과정 종합적 개선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긴급구조기관 위탁방안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다각적 모색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3621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8795" y="577196"/>
            <a:ext cx="86946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전불감증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불법 山岳안전교육과정 실태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1195" y="1369284"/>
            <a:ext cx="8782238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악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난자 구조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산객 안전 봉사활동 목적으로 「산악안전교육과정」 양성 中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2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14)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46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,528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양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백만 원 집행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별도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강습비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수십억 원 수령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숙박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비 및 생활비 별도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령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 과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초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강사과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간 실시 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교육기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법행위 및 안전수칙 위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고문 및 교재에 버젓이 「숙박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취사도구 준비」 안내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취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야영 행위 금지 위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화물질소지 적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출입금지구역 출입위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 등 불법 행위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빈번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안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낙석 및 해빙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험시기 암벽교육 시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강사 포함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강생 안전장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착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반사</a:t>
            </a:r>
            <a:endParaRPr lang="en-US" altLang="ko-KR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산악안전교육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촉 강사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부분이 이른바 ‘산악인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난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및 안전에 대한 전문성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 지적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긴급구조기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119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안전센터 요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산림청 구조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립공원관리공단등산학교 등 전문인력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POOL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외면 의혹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교육 교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적십자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도 발행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舊책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핵심교육 ‘심폐소생술’ 내용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P.226)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오류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6377" y="6073494"/>
            <a:ext cx="8522092" cy="42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각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종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교육과정 종합적 개선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긴급구조기관 위탁방안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다각적 모색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1773" y="61714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709411" y="48679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Picture 2" descr="C:\Users\assembly\Desktop\2015 국정감사\PPT\1차 기관 로고\gksrnrnqhr_0000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152580"/>
            <a:ext cx="1139125" cy="18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3955790" y="32488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383744" y="55387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5700995" y="18871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3" name="_x201218944" descr="EMB000016dc020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377" y="3907385"/>
            <a:ext cx="863532" cy="4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5" name="_x201218304" descr="EMB000016dc020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876494"/>
            <a:ext cx="1824579" cy="47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919" y="3876494"/>
            <a:ext cx="1818940" cy="475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546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7</TotalTime>
  <Words>1906</Words>
  <Application>Microsoft Office PowerPoint</Application>
  <PresentationFormat>화면 슬라이드 쇼(4:3)</PresentationFormat>
  <Paragraphs>157</Paragraphs>
  <Slides>11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208</cp:revision>
  <cp:lastPrinted>2015-09-16T01:32:40Z</cp:lastPrinted>
  <dcterms:created xsi:type="dcterms:W3CDTF">2015-09-02T12:15:03Z</dcterms:created>
  <dcterms:modified xsi:type="dcterms:W3CDTF">2015-09-16T01:32:46Z</dcterms:modified>
</cp:coreProperties>
</file>